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7" r:id="rId2"/>
    <p:sldId id="358" r:id="rId3"/>
    <p:sldId id="390" r:id="rId4"/>
    <p:sldId id="396" r:id="rId5"/>
    <p:sldId id="403" r:id="rId6"/>
    <p:sldId id="397" r:id="rId7"/>
    <p:sldId id="359" r:id="rId8"/>
    <p:sldId id="385" r:id="rId9"/>
    <p:sldId id="402" r:id="rId10"/>
    <p:sldId id="393" r:id="rId11"/>
    <p:sldId id="399" r:id="rId12"/>
    <p:sldId id="401" r:id="rId13"/>
    <p:sldId id="400" r:id="rId14"/>
    <p:sldId id="366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D1B9"/>
    <a:srgbClr val="534949"/>
    <a:srgbClr val="063E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63" d="100"/>
          <a:sy n="63" d="100"/>
        </p:scale>
        <p:origin x="-2100" y="-15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9" d="100"/>
        <a:sy n="119" d="100"/>
      </p:scale>
      <p:origin x="0" y="0"/>
    </p:cViewPr>
  </p:sorterViewPr>
  <p:notesViewPr>
    <p:cSldViewPr snapToGrid="0" snapToObjects="1" showGuides="1">
      <p:cViewPr varScale="1">
        <p:scale>
          <a:sx n="102" d="100"/>
          <a:sy n="102" d="100"/>
        </p:scale>
        <p:origin x="-2514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0E3A23-9F59-40EC-A1D2-10F47FBF7F48}" type="datetimeFigureOut">
              <a:rPr lang="en-US" smtClean="0"/>
              <a:t>3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7BBA2-BD2E-4512-857A-C0FEA74519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90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5CE735-C9A3-4F73-B2BC-C325992EE69D}" type="datetimeFigureOut">
              <a:rPr lang="en-US" smtClean="0"/>
              <a:pPr/>
              <a:t>3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D6E7F1-F421-4E30-8946-757C883580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0845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010400" y="152399"/>
            <a:ext cx="1981200" cy="65562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2400" y="153923"/>
            <a:ext cx="6705600" cy="6553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10400" y="2052960"/>
            <a:ext cx="1981200" cy="1828800"/>
          </a:xfrm>
        </p:spPr>
        <p:txBody>
          <a:bodyPr anchor="ctr">
            <a:normAutofit/>
          </a:bodyPr>
          <a:lstStyle>
            <a:lvl1pPr marL="0" indent="0" algn="l">
              <a:buNone/>
              <a:defRPr sz="19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4D8DEE8-7A87-4E01-8ADE-4C49CDD43F74}" type="datetime1">
              <a:rPr lang="en-US" smtClean="0"/>
              <a:pPr/>
              <a:t>3/1/2016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r"/>
            <a:fld id="{F7886C9C-DC18-4195-8FD5-A50AA931D419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57200" y="2052960"/>
            <a:ext cx="6324600" cy="1828800"/>
          </a:xfrm>
        </p:spPr>
        <p:txBody>
          <a:bodyPr/>
          <a:lstStyle>
            <a:lvl1pPr algn="r">
              <a:defRPr sz="4200" spc="15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F9461-E3EB-40CD-B93F-E5CBBBD8E0BA}" type="datetimeFigureOut">
              <a:rPr lang="en-US" smtClean="0"/>
              <a:pPr/>
              <a:t>3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04EA7543-9AAE-4E9F-B28C-4FCCFD07D4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2400" y="147319"/>
            <a:ext cx="6705600" cy="65562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010400" y="147319"/>
            <a:ext cx="1956046" cy="65562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274638"/>
            <a:ext cx="1676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78FA3-38AD-400D-A4D2-18E8EF129E5F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7886C9C-DC18-4195-8FD5-A50AA931D41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FF424-F111-43CB-9C75-D52325012943}" type="datetime1">
              <a:rPr lang="en-US" smtClean="0"/>
              <a:pPr/>
              <a:t>3/1/2016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010400" y="152399"/>
            <a:ext cx="1981200" cy="65562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2400" y="153923"/>
            <a:ext cx="6705600" cy="6553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62799" y="2892277"/>
            <a:ext cx="1600201" cy="1645920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A8BBF0-342D-409A-9C0A-B1B451E92883}" type="datetime1">
              <a:rPr lang="en-US" smtClean="0"/>
              <a:pPr/>
              <a:t>3/1/2016</a:t>
            </a:fld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F7886C9C-DC18-4195-8FD5-A50AA931D419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1000" y="2892277"/>
            <a:ext cx="6324600" cy="1645920"/>
          </a:xfrm>
        </p:spPr>
        <p:txBody>
          <a:bodyPr/>
          <a:lstStyle>
            <a:lvl1pPr algn="r">
              <a:defRPr sz="4200" spc="15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9072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2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DA190-4BDC-4D39-B5BB-A14B3E8B1B3D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F7886C9C-DC18-4195-8FD5-A50AA931D41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22438"/>
            <a:ext cx="4040188" cy="639762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399"/>
            <a:ext cx="4040188" cy="3687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/>
          <a:lstStyle>
            <a:lvl1pPr marL="0" indent="0" algn="ctr"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399"/>
            <a:ext cx="4041775" cy="3687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D52F2-9B11-4FC0-9217-7D20B3AC9849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F7886C9C-DC18-4195-8FD5-A50AA931D41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13737-8506-438E-ABC0-0BE7E06DCCA6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F7886C9C-DC18-4195-8FD5-A50AA931D41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2400" y="150919"/>
            <a:ext cx="8831802" cy="655624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58AA-1C84-40C9-BFEE-631CCB17636C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F7886C9C-DC18-4195-8FD5-A50AA931D41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010400" y="150876"/>
            <a:ext cx="1981200" cy="65562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/>
          <p:cNvSpPr/>
          <p:nvPr/>
        </p:nvSpPr>
        <p:spPr>
          <a:xfrm>
            <a:off x="152400" y="152400"/>
            <a:ext cx="6705600" cy="655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304800"/>
            <a:ext cx="58674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59752" y="2130552"/>
            <a:ext cx="1673352" cy="2816352"/>
          </a:xfrm>
        </p:spPr>
        <p:txBody>
          <a:bodyPr tIns="0"/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542C1-4E96-413B-B72E-6C4B39D85C9D}" type="datetime1">
              <a:rPr lang="en-US" smtClean="0"/>
              <a:pPr/>
              <a:t>3/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7886C9C-DC18-4195-8FD5-A50AA931D41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159752" y="457200"/>
            <a:ext cx="1675660" cy="1673352"/>
          </a:xfrm>
        </p:spPr>
        <p:txBody>
          <a:bodyPr anchor="b"/>
          <a:lstStyle>
            <a:lvl1pPr algn="l">
              <a:defRPr sz="2000" spc="15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9" name="Rectangle 8"/>
          <p:cNvSpPr/>
          <p:nvPr/>
        </p:nvSpPr>
        <p:spPr>
          <a:xfrm>
            <a:off x="7010400" y="150876"/>
            <a:ext cx="1981200" cy="65562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2400" y="152400"/>
            <a:ext cx="6705600" cy="6553200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62800" y="2133600"/>
            <a:ext cx="1676400" cy="2971800"/>
          </a:xfrm>
        </p:spPr>
        <p:txBody>
          <a:bodyPr tIns="0"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42AA2-D442-471A-9D69-80392E1E581D}" type="datetime1">
              <a:rPr lang="en-US" smtClean="0"/>
              <a:pPr/>
              <a:t>3/1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34680" y="6355080"/>
            <a:ext cx="582966" cy="274320"/>
          </a:xfrm>
          <a:prstGeom prst="rect">
            <a:avLst/>
          </a:prstGeom>
        </p:spPr>
        <p:txBody>
          <a:bodyPr/>
          <a:lstStyle/>
          <a:p>
            <a:fld id="{F7886C9C-DC18-4195-8FD5-A50AA931D41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162800" y="460248"/>
            <a:ext cx="1676400" cy="1673352"/>
          </a:xfrm>
        </p:spPr>
        <p:txBody>
          <a:bodyPr anchor="b"/>
          <a:lstStyle>
            <a:lvl1pPr algn="l">
              <a:defRPr sz="2000" spc="15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52400" y="1634971"/>
            <a:ext cx="8831802" cy="50454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2399" y="152400"/>
            <a:ext cx="8814047" cy="13464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55847"/>
            <a:ext cx="8381260" cy="10543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999" y="1719071"/>
            <a:ext cx="8407893" cy="4407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888" y="6356350"/>
            <a:ext cx="21336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11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C43563C-D9B3-4432-B336-144C997D6215}" type="datetime1">
              <a:rPr lang="en-US" smtClean="0"/>
              <a:pPr/>
              <a:t>3/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6356350"/>
            <a:ext cx="33528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171438" y="6154956"/>
            <a:ext cx="628650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fld id="{6BEB8713-95A4-4DEE-918C-D29D1E8BB665}" type="slidenum">
              <a: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algn="r">
                <a:defRPr/>
              </a:pPr>
              <a:t>‹#›</a:t>
            </a:fld>
            <a:r>
              <a:rPr lang="en-US" sz="1100" kern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25" t="2241" r="21203" b="48635"/>
          <a:stretch/>
        </p:blipFill>
        <p:spPr>
          <a:xfrm>
            <a:off x="631309" y="5908789"/>
            <a:ext cx="1476612" cy="705853"/>
          </a:xfrm>
          <a:prstGeom prst="rect">
            <a:avLst/>
          </a:prstGeom>
        </p:spPr>
      </p:pic>
      <p:pic>
        <p:nvPicPr>
          <p:cNvPr id="1030" name="Picture 6" descr="http://plaza.ufl.edu/hsodano/MASS_LAB_files/UF%20Logo.gif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4909" y="6075784"/>
            <a:ext cx="2548741" cy="46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essie.ufl.edu/common/images/essie_logo_main.pn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7315" y="5906184"/>
            <a:ext cx="2271202" cy="71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200" kern="1200" cap="all" spc="200" baseline="0">
          <a:ln>
            <a:noFill/>
          </a:ln>
          <a:solidFill>
            <a:schemeClr val="bg1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sz="2000" kern="1200" spc="150" baseline="0">
          <a:solidFill>
            <a:schemeClr val="tx2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800" kern="1200" spc="100" baseline="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600" kern="1200" spc="100" baseline="0">
          <a:solidFill>
            <a:schemeClr val="tx2"/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buClr>
          <a:schemeClr val="accent4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6"/>
        </a:buClr>
        <a:buFont typeface="Wingdings" pitchFamily="2" charset="2"/>
        <a:buChar char="§"/>
        <a:defRPr sz="1300" kern="1200" spc="100" baseline="0">
          <a:solidFill>
            <a:schemeClr val="tx2"/>
          </a:solidFill>
          <a:latin typeface="+mn-lt"/>
          <a:ea typeface="+mn-ea"/>
          <a:cs typeface="+mn-cs"/>
        </a:defRPr>
      </a:lvl5pPr>
      <a:lvl6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8601" y="681360"/>
            <a:ext cx="6593199" cy="18288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 smtClean="0"/>
              <a:t>FIELD STUDY AND ANALYTICAL ASSESSMENT OF SEALED ATTICS CONDUCTED FOR THE STATE OF FLORIDA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10400" y="2441580"/>
            <a:ext cx="1981200" cy="1478910"/>
          </a:xfrm>
        </p:spPr>
        <p:txBody>
          <a:bodyPr/>
          <a:lstStyle/>
          <a:p>
            <a:pPr algn="ctr"/>
            <a:r>
              <a:rPr lang="en-US" dirty="0" smtClean="0"/>
              <a:t>24February</a:t>
            </a:r>
          </a:p>
          <a:p>
            <a:pPr algn="ctr"/>
            <a:r>
              <a:rPr lang="en-US" dirty="0" smtClean="0"/>
              <a:t>2016</a:t>
            </a:r>
          </a:p>
          <a:p>
            <a:endParaRPr lang="en-US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304800" y="2993434"/>
            <a:ext cx="64770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None/>
              <a:defRPr sz="1900" kern="1200" spc="15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  <a:defRPr sz="18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None/>
              <a:defRPr sz="16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Wingdings" pitchFamily="2" charset="2"/>
              <a:buNone/>
              <a:defRPr sz="13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dirty="0" smtClean="0"/>
              <a:t>David O. Prevatt, PhD, P.E.</a:t>
            </a:r>
          </a:p>
          <a:p>
            <a:pPr algn="r"/>
            <a:r>
              <a:rPr lang="en-US" sz="1800" dirty="0" smtClean="0"/>
              <a:t>Associate Professor</a:t>
            </a:r>
          </a:p>
          <a:p>
            <a:pPr algn="r"/>
            <a:r>
              <a:rPr lang="en-US" sz="1800" dirty="0"/>
              <a:t>University of Florida, Gainesville, </a:t>
            </a:r>
            <a:r>
              <a:rPr lang="en-US" sz="1800" dirty="0" smtClean="0"/>
              <a:t>FL</a:t>
            </a:r>
          </a:p>
          <a:p>
            <a:pPr algn="r"/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25" t="2241" r="21203" b="48635"/>
          <a:stretch/>
        </p:blipFill>
        <p:spPr>
          <a:xfrm>
            <a:off x="7199504" y="500823"/>
            <a:ext cx="1616836" cy="77288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7015141" y="6089801"/>
            <a:ext cx="1981200" cy="621173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8" descr="http://www.essie.ufl.edu/common/images/essie_logo_main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5141" y="6089801"/>
            <a:ext cx="1976459" cy="62117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6995305" y="4943086"/>
            <a:ext cx="2008868" cy="356672"/>
            <a:chOff x="7077584" y="1585272"/>
            <a:chExt cx="1939162" cy="344296"/>
          </a:xfrm>
          <a:effectLst/>
        </p:grpSpPr>
        <p:sp>
          <p:nvSpPr>
            <p:cNvPr id="8" name="Rectangle 7"/>
            <p:cNvSpPr/>
            <p:nvPr/>
          </p:nvSpPr>
          <p:spPr>
            <a:xfrm>
              <a:off x="7077584" y="1585272"/>
              <a:ext cx="1939162" cy="3442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6" descr="http://plaza.ufl.edu/hsodano/MASS_LAB_files/UF%20Logo.gif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5303" y="1585272"/>
              <a:ext cx="1876297" cy="344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Subtitle 2"/>
          <p:cNvSpPr txBox="1">
            <a:spLocks/>
          </p:cNvSpPr>
          <p:nvPr/>
        </p:nvSpPr>
        <p:spPr>
          <a:xfrm>
            <a:off x="304800" y="4380274"/>
            <a:ext cx="6477000" cy="17095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None/>
              <a:defRPr sz="1900" kern="1200" spc="15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  <a:defRPr sz="18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None/>
              <a:defRPr sz="16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Wingdings" pitchFamily="2" charset="2"/>
              <a:buNone/>
              <a:defRPr sz="1300" kern="1200" spc="1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" pitchFamily="2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800" dirty="0"/>
          </a:p>
          <a:p>
            <a:pPr algn="r"/>
            <a:r>
              <a:rPr lang="en-US" sz="1800" dirty="0" smtClean="0"/>
              <a:t>William Miller, Ph.D., P.E.</a:t>
            </a:r>
          </a:p>
          <a:p>
            <a:pPr algn="r"/>
            <a:r>
              <a:rPr lang="en-US" sz="1800" dirty="0" smtClean="0"/>
              <a:t>Research Scientist Oak Ridge National Laboratory</a:t>
            </a:r>
          </a:p>
          <a:p>
            <a:pPr algn="r"/>
            <a:r>
              <a:rPr lang="en-US" sz="1800" dirty="0" smtClean="0"/>
              <a:t>Joint Faculty at the University of Tennessee</a:t>
            </a:r>
          </a:p>
          <a:p>
            <a:pPr algn="r"/>
            <a:r>
              <a:rPr lang="en-US" sz="1800" dirty="0" smtClean="0"/>
              <a:t>Mechanical Engineering </a:t>
            </a:r>
          </a:p>
          <a:p>
            <a:pPr algn="r"/>
            <a:r>
              <a:rPr lang="en-US" sz="1800" dirty="0" smtClean="0"/>
              <a:t>Architecture and Design</a:t>
            </a:r>
            <a:endParaRPr lang="en-US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6995305" y="1432560"/>
            <a:ext cx="19828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allahassee, FL 32399-2100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5832697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870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6" t="7724" r="5050" b="2033"/>
          <a:stretch/>
        </p:blipFill>
        <p:spPr bwMode="auto">
          <a:xfrm>
            <a:off x="624840" y="1778000"/>
            <a:ext cx="5328920" cy="41046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953760" y="2948770"/>
            <a:ext cx="29057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oof cross section showing the spray foam insulation with RH, temperature and moisture pins installed in the wood sheathing.</a:t>
            </a:r>
            <a:endParaRPr lang="en-US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81000" y="355847"/>
            <a:ext cx="8381260" cy="1054394"/>
          </a:xfrm>
        </p:spPr>
        <p:txBody>
          <a:bodyPr/>
          <a:lstStyle/>
          <a:p>
            <a:r>
              <a:rPr lang="en-US" dirty="0" smtClean="0"/>
              <a:t>Field instrumentation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240" y="4607807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895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eld instrumentation</a:t>
            </a:r>
            <a:endParaRPr lang="en-US" dirty="0"/>
          </a:p>
        </p:txBody>
      </p:sp>
      <p:pic>
        <p:nvPicPr>
          <p:cNvPr id="1026" name="Picture 2" descr="https://s.campbellsci.com/images/14-4816.png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491"/>
          <a:stretch/>
        </p:blipFill>
        <p:spPr bwMode="auto">
          <a:xfrm>
            <a:off x="1069723" y="2328863"/>
            <a:ext cx="2163537" cy="153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43840" y="4084319"/>
            <a:ext cx="393152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ampbell Scientific Data Logger CR6</a:t>
            </a:r>
          </a:p>
          <a:p>
            <a:r>
              <a:rPr lang="en-US" dirty="0"/>
              <a:t> </a:t>
            </a:r>
            <a:r>
              <a:rPr lang="en-US" dirty="0" smtClean="0"/>
              <a:t>        Data acquisition system</a:t>
            </a:r>
          </a:p>
          <a:p>
            <a:endParaRPr lang="en-US" dirty="0"/>
          </a:p>
          <a:p>
            <a:r>
              <a:rPr lang="en-US" dirty="0" smtClean="0"/>
              <a:t>This instrument is used to collect data</a:t>
            </a:r>
          </a:p>
          <a:p>
            <a:r>
              <a:rPr lang="en-US" dirty="0"/>
              <a:t>s</a:t>
            </a:r>
            <a:r>
              <a:rPr lang="en-US" dirty="0" smtClean="0"/>
              <a:t>uch as temperature and moisture</a:t>
            </a:r>
          </a:p>
          <a:p>
            <a:r>
              <a:rPr lang="en-US" dirty="0" smtClean="0"/>
              <a:t>Content.</a:t>
            </a:r>
            <a:endParaRPr lang="en-US" dirty="0"/>
          </a:p>
        </p:txBody>
      </p:sp>
      <p:pic>
        <p:nvPicPr>
          <p:cNvPr id="6" name="Picture 5"/>
          <p:cNvPicPr/>
          <p:nvPr/>
        </p:nvPicPr>
        <p:blipFill rotWithShape="1">
          <a:blip r:embed="rId3"/>
          <a:srcRect l="38462" t="47863" r="38034" b="18138"/>
          <a:stretch/>
        </p:blipFill>
        <p:spPr bwMode="auto">
          <a:xfrm>
            <a:off x="5506720" y="1719263"/>
            <a:ext cx="2782253" cy="200628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866640" y="4084320"/>
            <a:ext cx="40335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inneapolis Duct Blaster System</a:t>
            </a:r>
          </a:p>
          <a:p>
            <a:pPr algn="ctr"/>
            <a:endParaRPr lang="en-US" dirty="0"/>
          </a:p>
          <a:p>
            <a:r>
              <a:rPr lang="en-US" dirty="0" smtClean="0"/>
              <a:t>This instrument is used to determine the air leakage in the duct system of a house.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423" y="1719263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69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33" t="71111" r="36184" b="8000"/>
          <a:stretch/>
        </p:blipFill>
        <p:spPr>
          <a:xfrm>
            <a:off x="5897775" y="1887062"/>
            <a:ext cx="2986176" cy="217773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ELD INSTRUMENT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54" t="18689" r="25126" b="38503"/>
          <a:stretch/>
        </p:blipFill>
        <p:spPr bwMode="auto">
          <a:xfrm>
            <a:off x="849071" y="1720883"/>
            <a:ext cx="1569009" cy="25361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04800" y="4643120"/>
            <a:ext cx="37795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Blower Door Test is used to determine the air leakage through doors, windows and other openings.</a:t>
            </a:r>
            <a:endParaRPr lang="en-US" dirty="0"/>
          </a:p>
        </p:txBody>
      </p:sp>
      <p:pic>
        <p:nvPicPr>
          <p:cNvPr id="2050" name="Picture 2" descr="http://www.woodcraft.com/Images/products/600/15377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1887062"/>
            <a:ext cx="2177732" cy="2177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100320" y="4663440"/>
            <a:ext cx="35153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isture pins (nails) are used to determine the moisture content in the wood sheathing.</a:t>
            </a:r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720" y="3493294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360160" y="2286000"/>
            <a:ext cx="2179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FFFF00"/>
                </a:solidFill>
              </a:rPr>
              <a:t>Moisture Pins</a:t>
            </a:r>
            <a:endParaRPr lang="en-US" sz="2400" dirty="0">
              <a:solidFill>
                <a:srgbClr val="FFFF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57600" y="3695462"/>
            <a:ext cx="2179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Delmhorst</a:t>
            </a:r>
            <a:r>
              <a:rPr lang="en-US" dirty="0" smtClean="0"/>
              <a:t> 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31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" indent="0">
              <a:buNone/>
            </a:pPr>
            <a:r>
              <a:rPr lang="en-US" dirty="0" smtClean="0"/>
              <a:t>The Florida Building Code 2010 provides the following information</a:t>
            </a:r>
          </a:p>
          <a:p>
            <a:r>
              <a:rPr lang="en-US" dirty="0"/>
              <a:t>2304.11.4.2 WOOD STRUCTURAL MEMBERS</a:t>
            </a:r>
          </a:p>
          <a:p>
            <a:pPr marL="45720" indent="0">
              <a:buNone/>
            </a:pPr>
            <a:r>
              <a:rPr lang="en-US" dirty="0"/>
              <a:t>Wood structural members that support moisture-permeable floors or roofs that are exposed to weather, such as concrete or masonry slabs, shall be of naturally durable or preservative-treated wood unless separated from such floors or roofs by impervious moisture barrier</a:t>
            </a:r>
            <a:r>
              <a:rPr lang="en-US" dirty="0" smtClean="0"/>
              <a:t>.</a:t>
            </a:r>
          </a:p>
          <a:p>
            <a:r>
              <a:rPr lang="en-US" dirty="0"/>
              <a:t>2603.4.1.6 Foam Plastics in Attics and crawlspaces</a:t>
            </a:r>
          </a:p>
          <a:p>
            <a:pPr marL="45720" indent="0">
              <a:buNone/>
            </a:pPr>
            <a:r>
              <a:rPr lang="en-US" dirty="0"/>
              <a:t>Within an attic or crawlspace, foam plastic insulation shall be protected against ignition by 1.5in thick mineral fiber insulation, 0.25in wood structural panel or other approved material installed in such a manner that the foam insulation is not exposed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dal</a:t>
            </a:r>
            <a:r>
              <a:rPr lang="en-US" dirty="0" smtClean="0"/>
              <a:t> provi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8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COM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80999" y="1876266"/>
            <a:ext cx="7898027" cy="3945413"/>
          </a:xfrm>
        </p:spPr>
        <p:txBody>
          <a:bodyPr>
            <a:noAutofit/>
          </a:bodyPr>
          <a:lstStyle/>
          <a:p>
            <a:pPr algn="just"/>
            <a:r>
              <a:rPr lang="en-US" sz="2800" dirty="0" smtClean="0"/>
              <a:t>A Go/no Go decision for analytical study and benchmarks will be made based on the results of the field study. </a:t>
            </a:r>
          </a:p>
          <a:p>
            <a:pPr algn="just"/>
            <a:r>
              <a:rPr lang="en-US" sz="2800" dirty="0" smtClean="0"/>
              <a:t>The Go decision will allow the ORNL computer toolkit to compare analytical models against empirical findings of moisture accumulation.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5580" y="4623047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0775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291594" y="1"/>
            <a:ext cx="851549" cy="6857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302115" y="1011186"/>
            <a:ext cx="6389507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TOPICS COVERED</a:t>
            </a:r>
          </a:p>
          <a:p>
            <a:endParaRPr lang="en-US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 Project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 Motiv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Purpose &amp; Go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Scope of Wo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Milestones and Deliverab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bg1"/>
                </a:solidFill>
              </a:rPr>
              <a:t>Field Instru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pPr algn="ctr"/>
            <a:endParaRPr lang="en-US" sz="1400" dirty="0" smtClean="0">
              <a:solidFill>
                <a:schemeClr val="bg1"/>
              </a:solidFill>
            </a:endParaRPr>
          </a:p>
          <a:p>
            <a:endParaRPr lang="en-US" sz="1200" dirty="0" smtClean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6" name="Picture 5" descr="UFsignature.ti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605662" y="5252012"/>
            <a:ext cx="2474976" cy="45415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 rot="16200000">
            <a:off x="4541465" y="2617083"/>
            <a:ext cx="6546656" cy="16523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 cap="all" spc="20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/>
              <a:t>FIELD STUDY AND ANALYTICAL ASSESSMENT OF SEALED ATTICS CONDUCTED FOR THE STATE OF </a:t>
            </a:r>
            <a:r>
              <a:rPr lang="en-US" sz="1800" dirty="0" smtClean="0"/>
              <a:t>FLORIDA</a:t>
            </a:r>
            <a:endParaRPr lang="en-US" sz="1200" dirty="0"/>
          </a:p>
          <a:p>
            <a:r>
              <a:rPr lang="en-US" sz="1100" dirty="0" smtClean="0"/>
              <a:t>SPONSOR:  Florida Building Commission</a:t>
            </a:r>
          </a:p>
        </p:txBody>
      </p:sp>
      <p:sp>
        <p:nvSpPr>
          <p:cNvPr id="3" name="Rectangle 2"/>
          <p:cNvSpPr/>
          <p:nvPr/>
        </p:nvSpPr>
        <p:spPr>
          <a:xfrm rot="16200000">
            <a:off x="7279138" y="1349719"/>
            <a:ext cx="2982372" cy="52322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en-US" sz="1400" dirty="0">
                <a:solidFill>
                  <a:srgbClr val="063E89"/>
                </a:solidFill>
              </a:rPr>
              <a:t>SCHOOL OF SUSTAINABLE INFRASTRUCTURE &amp; ENVIRONMENT</a:t>
            </a:r>
          </a:p>
        </p:txBody>
      </p:sp>
    </p:spTree>
    <p:extLst>
      <p:ext uri="{BB962C8B-B14F-4D97-AF65-F5344CB8AC3E}">
        <p14:creationId xmlns:p14="http://schemas.microsoft.com/office/powerpoint/2010/main" val="174549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59080" y="2034031"/>
            <a:ext cx="8651733" cy="3330449"/>
          </a:xfrm>
        </p:spPr>
        <p:txBody>
          <a:bodyPr>
            <a:normAutofit fontScale="62500" lnSpcReduction="20000"/>
          </a:bodyPr>
          <a:lstStyle/>
          <a:p>
            <a:pPr algn="just"/>
            <a:r>
              <a:rPr lang="en-US" sz="3300" dirty="0" smtClean="0"/>
              <a:t>University of Florida – Dr. David O. </a:t>
            </a:r>
            <a:r>
              <a:rPr lang="en-US" sz="3300" dirty="0" err="1" smtClean="0"/>
              <a:t>Prevatt</a:t>
            </a:r>
            <a:endParaRPr lang="en-US" sz="3300" dirty="0" smtClean="0"/>
          </a:p>
          <a:p>
            <a:pPr marL="45720" indent="0" algn="just">
              <a:buNone/>
            </a:pPr>
            <a:r>
              <a:rPr lang="en-US" sz="3300" dirty="0" smtClean="0"/>
              <a:t>                                      Associate Professor</a:t>
            </a:r>
          </a:p>
          <a:p>
            <a:pPr marL="45720" indent="0">
              <a:buNone/>
            </a:pPr>
            <a:r>
              <a:rPr lang="en-US" sz="3300" dirty="0" smtClean="0"/>
              <a:t>                                      Dept. of Civil and Coastal Engineering</a:t>
            </a:r>
          </a:p>
          <a:p>
            <a:pPr algn="just"/>
            <a:endParaRPr lang="en-US" sz="3300" dirty="0" smtClean="0"/>
          </a:p>
          <a:p>
            <a:pPr algn="just"/>
            <a:r>
              <a:rPr lang="en-US" sz="3300" dirty="0" smtClean="0"/>
              <a:t>Oak Ridge National Laboratory (Subcontract):</a:t>
            </a:r>
          </a:p>
          <a:p>
            <a:pPr marL="45720" indent="0" algn="just" defTabSz="1660525">
              <a:buNone/>
              <a:tabLst>
                <a:tab pos="2574925" algn="l"/>
              </a:tabLst>
            </a:pPr>
            <a:r>
              <a:rPr lang="en-US" sz="3300" dirty="0" smtClean="0"/>
              <a:t>	- Dr. WA Miller, Building Envelope Program</a:t>
            </a:r>
          </a:p>
          <a:p>
            <a:pPr marL="45720" indent="0" algn="just" defTabSz="1660525">
              <a:buNone/>
              <a:tabLst>
                <a:tab pos="2574925" algn="l"/>
              </a:tabLst>
            </a:pPr>
            <a:r>
              <a:rPr lang="en-US" sz="3300" dirty="0" smtClean="0"/>
              <a:t>	- Dr. S. Pallin</a:t>
            </a:r>
          </a:p>
          <a:p>
            <a:pPr marL="45720" indent="0" algn="just" defTabSz="1660525">
              <a:buNone/>
              <a:tabLst>
                <a:tab pos="2574925" algn="l"/>
              </a:tabLst>
            </a:pPr>
            <a:r>
              <a:rPr lang="en-US" sz="3300" dirty="0" smtClean="0"/>
              <a:t>	- P. Boudreaux</a:t>
            </a:r>
          </a:p>
          <a:p>
            <a:pPr marL="45720" indent="0" algn="just" defTabSz="1660525">
              <a:buNone/>
              <a:tabLst>
                <a:tab pos="2574925" algn="l"/>
              </a:tabLst>
            </a:pPr>
            <a:r>
              <a:rPr lang="en-US" sz="3300" dirty="0" smtClean="0"/>
              <a:t>	- Dr. R. </a:t>
            </a:r>
            <a:r>
              <a:rPr lang="en-US" sz="3300" dirty="0" smtClean="0"/>
              <a:t>Jackson</a:t>
            </a:r>
          </a:p>
          <a:p>
            <a:pPr marL="45720" indent="0" algn="just" defTabSz="1660525">
              <a:buNone/>
              <a:tabLst>
                <a:tab pos="2574925" algn="l"/>
              </a:tabLst>
            </a:pPr>
            <a:r>
              <a:rPr lang="en-US" sz="3300" dirty="0"/>
              <a:t>	</a:t>
            </a:r>
            <a:r>
              <a:rPr lang="en-US" sz="3300" dirty="0" smtClean="0"/>
              <a:t>- A. Desjarlais</a:t>
            </a:r>
            <a:endParaRPr lang="en-US" sz="3300" dirty="0" smtClean="0"/>
          </a:p>
          <a:p>
            <a:pPr marL="45720" indent="0" algn="just">
              <a:buNone/>
            </a:pP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roject team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460" y="4072890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8065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64407"/>
            <a:ext cx="8381260" cy="436633"/>
          </a:xfrm>
        </p:spPr>
        <p:txBody>
          <a:bodyPr/>
          <a:lstStyle/>
          <a:p>
            <a:r>
              <a:rPr lang="en-US" dirty="0" smtClean="0"/>
              <a:t>Motivation</a:t>
            </a:r>
            <a:endParaRPr lang="en-US" sz="20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40" y="1693878"/>
            <a:ext cx="6827520" cy="42886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2151864" y="790694"/>
            <a:ext cx="487319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FFFF00"/>
                </a:solidFill>
              </a:rPr>
              <a:t>ORNL Observed </a:t>
            </a:r>
            <a:r>
              <a:rPr lang="en-US" dirty="0" smtClean="0">
                <a:solidFill>
                  <a:srgbClr val="FFFF00"/>
                </a:solidFill>
              </a:rPr>
              <a:t>Peaks </a:t>
            </a:r>
            <a:r>
              <a:rPr lang="en-US" dirty="0">
                <a:solidFill>
                  <a:srgbClr val="FFFF00"/>
                </a:solidFill>
              </a:rPr>
              <a:t>in RH in </a:t>
            </a:r>
            <a:r>
              <a:rPr lang="en-US" dirty="0" smtClean="0">
                <a:solidFill>
                  <a:srgbClr val="FFFF00"/>
                </a:solidFill>
              </a:rPr>
              <a:t>Sealed Attic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rgbClr val="FFFF00"/>
                </a:solidFill>
              </a:rPr>
              <a:t>Visual Evidence of Moisture Storage in </a:t>
            </a:r>
            <a:r>
              <a:rPr lang="en-US" dirty="0" err="1" smtClean="0">
                <a:solidFill>
                  <a:srgbClr val="FFFF00"/>
                </a:solidFill>
              </a:rPr>
              <a:t>ocSPF</a:t>
            </a:r>
            <a:endParaRPr lang="en-US" dirty="0">
              <a:solidFill>
                <a:srgbClr val="FFFF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140" y="4714487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1808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The Effect of Sealed/Unvented Attics on Indoor Comfort and Roof Assembly Durability </a:t>
            </a:r>
            <a:endParaRPr lang="en-US" sz="2400" dirty="0">
              <a:solidFill>
                <a:srgbClr val="FF0000"/>
              </a:solidFill>
            </a:endParaRPr>
          </a:p>
        </p:txBody>
      </p:sp>
      <p:pic>
        <p:nvPicPr>
          <p:cNvPr id="5" name="Picture 4" descr="all homes living RH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6056" y="1692749"/>
            <a:ext cx="6555558" cy="4068657"/>
          </a:xfrm>
          <a:prstGeom prst="rect">
            <a:avLst/>
          </a:prstGeom>
        </p:spPr>
      </p:pic>
      <p:sp>
        <p:nvSpPr>
          <p:cNvPr id="7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6691113" y="1524000"/>
            <a:ext cx="2315727" cy="4434843"/>
          </a:xfrm>
          <a:prstGeom prst="homePlate">
            <a:avLst>
              <a:gd name="adj" fmla="val 12764"/>
            </a:avLst>
          </a:prstGeom>
          <a:solidFill>
            <a:srgbClr val="006C3A"/>
          </a:solidFill>
          <a:ln>
            <a:noFill/>
          </a:ln>
          <a:effectLst>
            <a:outerShdw dist="35921" dir="2700000" algn="ctr" rotWithShape="0">
              <a:srgbClr val="808080"/>
            </a:outerShdw>
          </a:effectLst>
          <a:extLst/>
        </p:spPr>
        <p:txBody>
          <a:bodyPr lIns="73363" tIns="73363" rIns="73363" bIns="73363"/>
          <a:lstStyle/>
          <a:p>
            <a:pPr defTabSz="913235">
              <a:buClr>
                <a:srgbClr val="993300"/>
              </a:buClr>
            </a:pPr>
            <a:endParaRPr lang="en-US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428" y="3057170"/>
            <a:ext cx="1971534" cy="13181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DSCN1073"/>
          <p:cNvPicPr>
            <a:picLocks noChangeAspect="1" noChangeArrowheads="1"/>
          </p:cNvPicPr>
          <p:nvPr/>
        </p:nvPicPr>
        <p:blipFill>
          <a:blip r:embed="rId5" cstate="print"/>
          <a:srcRect l="2850" t="8800" b="13901"/>
          <a:stretch>
            <a:fillRect/>
          </a:stretch>
        </p:blipFill>
        <p:spPr bwMode="auto">
          <a:xfrm>
            <a:off x="7055515" y="4571659"/>
            <a:ext cx="1968689" cy="11745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6" descr="DSCN1079"/>
          <p:cNvPicPr>
            <a:picLocks noChangeAspect="1" noChangeArrowheads="1"/>
          </p:cNvPicPr>
          <p:nvPr/>
        </p:nvPicPr>
        <p:blipFill>
          <a:blip r:embed="rId6" cstate="print"/>
          <a:srcRect l="44075" t="31647" r="2165" b="26043"/>
          <a:stretch>
            <a:fillRect/>
          </a:stretch>
        </p:blipFill>
        <p:spPr bwMode="auto">
          <a:xfrm>
            <a:off x="7058766" y="1637420"/>
            <a:ext cx="1968689" cy="11619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3940" y="4758690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071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" indent="0">
              <a:buNone/>
            </a:pPr>
            <a:r>
              <a:rPr lang="en-US" b="1" u="sng" dirty="0" smtClean="0"/>
              <a:t>PURPOSE</a:t>
            </a:r>
          </a:p>
          <a:p>
            <a:r>
              <a:rPr lang="en-US" dirty="0" smtClean="0"/>
              <a:t>To monitor relative humidity, temperature and moisture content of sheathing in two residential structures having sealed attic systems.</a:t>
            </a:r>
          </a:p>
          <a:p>
            <a:r>
              <a:rPr lang="en-US" dirty="0" smtClean="0"/>
              <a:t>To document the air tightness of the homes, duct systems and sealed attics.</a:t>
            </a:r>
          </a:p>
          <a:p>
            <a:endParaRPr lang="en-US" dirty="0"/>
          </a:p>
          <a:p>
            <a:pPr marL="45720" indent="0">
              <a:buNone/>
            </a:pPr>
            <a:r>
              <a:rPr lang="en-US" b="1" u="sng" dirty="0" smtClean="0"/>
              <a:t>GOALS</a:t>
            </a:r>
          </a:p>
          <a:p>
            <a:r>
              <a:rPr lang="en-US" dirty="0" smtClean="0"/>
              <a:t>To record the moisture content of the wood roof decks and relative humidity &amp; temperature of the indoor ambient, the outdoor ambient and the attic for a 12 month period that includes the hot and humid summer months.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rpose &amp; go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7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5373" y="2140224"/>
            <a:ext cx="8717867" cy="4024602"/>
          </a:xfrm>
        </p:spPr>
        <p:txBody>
          <a:bodyPr>
            <a:noAutofit/>
          </a:bodyPr>
          <a:lstStyle/>
          <a:p>
            <a:r>
              <a:rPr lang="en-US" dirty="0" smtClean="0"/>
              <a:t>Two residential structures will be set up across Florida to acquire field data.</a:t>
            </a:r>
          </a:p>
          <a:p>
            <a:r>
              <a:rPr lang="en-US" dirty="0" smtClean="0"/>
              <a:t>Field data will be used to assess the potential of moisture retention in the foam insulation, which can lead to structural damage to the sheathing.</a:t>
            </a:r>
          </a:p>
        </p:txBody>
      </p:sp>
    </p:spTree>
    <p:extLst>
      <p:ext uri="{BB962C8B-B14F-4D97-AF65-F5344CB8AC3E}">
        <p14:creationId xmlns:p14="http://schemas.microsoft.com/office/powerpoint/2010/main" val="360751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71113" y="5587759"/>
            <a:ext cx="7929289" cy="1085850"/>
          </a:xfrm>
          <a:prstGeom prst="rect">
            <a:avLst/>
          </a:prstGeom>
          <a:solidFill>
            <a:srgbClr val="CCD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67178" y="2153766"/>
            <a:ext cx="7933223" cy="4040557"/>
          </a:xfrm>
        </p:spPr>
        <p:txBody>
          <a:bodyPr/>
          <a:lstStyle/>
          <a:p>
            <a:r>
              <a:rPr lang="en-US" dirty="0" smtClean="0"/>
              <a:t>Two houses to be identified in ASHRAE climatological zones 1 and 2.</a:t>
            </a:r>
          </a:p>
          <a:p>
            <a:r>
              <a:rPr lang="en-US" dirty="0" smtClean="0"/>
              <a:t>Conduct homeowner’s survey to document experience with sealed attics.</a:t>
            </a:r>
          </a:p>
          <a:p>
            <a:r>
              <a:rPr lang="en-US" dirty="0" smtClean="0"/>
              <a:t>Conduct blower door and duct blaster tests to determine air exchange rate.</a:t>
            </a:r>
          </a:p>
          <a:p>
            <a:r>
              <a:rPr lang="en-US" dirty="0" smtClean="0"/>
              <a:t>Install mini-data logger in attic to acquire data wirelessly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OPE OF 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23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73705" y="124254"/>
            <a:ext cx="9052302" cy="6630644"/>
            <a:chOff x="73705" y="124254"/>
            <a:chExt cx="9052302" cy="663064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05" y="124254"/>
              <a:ext cx="9052302" cy="663064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Decagon 5"/>
            <p:cNvSpPr/>
            <p:nvPr/>
          </p:nvSpPr>
          <p:spPr>
            <a:xfrm>
              <a:off x="6152894" y="1354816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1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" name="Decagon 6"/>
            <p:cNvSpPr/>
            <p:nvPr/>
          </p:nvSpPr>
          <p:spPr>
            <a:xfrm>
              <a:off x="7164983" y="2620152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2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Decagon 7"/>
            <p:cNvSpPr/>
            <p:nvPr/>
          </p:nvSpPr>
          <p:spPr>
            <a:xfrm>
              <a:off x="5880411" y="2943137"/>
              <a:ext cx="538479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3,4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0" name="Decagon 9"/>
            <p:cNvSpPr/>
            <p:nvPr/>
          </p:nvSpPr>
          <p:spPr>
            <a:xfrm>
              <a:off x="4268210" y="569627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6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" name="Decagon 10"/>
            <p:cNvSpPr/>
            <p:nvPr/>
          </p:nvSpPr>
          <p:spPr>
            <a:xfrm>
              <a:off x="6665424" y="3343750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7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Decagon 11"/>
            <p:cNvSpPr/>
            <p:nvPr/>
          </p:nvSpPr>
          <p:spPr>
            <a:xfrm>
              <a:off x="6133432" y="3854783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8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Decagon 12"/>
            <p:cNvSpPr/>
            <p:nvPr/>
          </p:nvSpPr>
          <p:spPr>
            <a:xfrm>
              <a:off x="8547033" y="4114800"/>
              <a:ext cx="531994" cy="355160"/>
            </a:xfrm>
            <a:prstGeom prst="decagon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5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" y="1823185"/>
            <a:ext cx="4086393" cy="4534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06043" y="200454"/>
            <a:ext cx="419807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ject Status</a:t>
            </a:r>
            <a:endParaRPr lang="en-US" sz="4000" dirty="0">
              <a:solidFill>
                <a:schemeClr val="bg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715" y="5786330"/>
            <a:ext cx="1600200" cy="5715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734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NYHUUltE.Bn3VzzSux9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Grid">
  <a:themeElements>
    <a:clrScheme name="Grid">
      <a:dk1>
        <a:sysClr val="windowText" lastClr="000000"/>
      </a:dk1>
      <a:lt1>
        <a:sysClr val="window" lastClr="FFFFFF"/>
      </a:lt1>
      <a:dk2>
        <a:srgbClr val="534949"/>
      </a:dk2>
      <a:lt2>
        <a:srgbClr val="CCD1B9"/>
      </a:lt2>
      <a:accent1>
        <a:srgbClr val="C66951"/>
      </a:accent1>
      <a:accent2>
        <a:srgbClr val="BF974D"/>
      </a:accent2>
      <a:accent3>
        <a:srgbClr val="928B70"/>
      </a:accent3>
      <a:accent4>
        <a:srgbClr val="87706B"/>
      </a:accent4>
      <a:accent5>
        <a:srgbClr val="94734E"/>
      </a:accent5>
      <a:accent6>
        <a:srgbClr val="6F777D"/>
      </a:accent6>
      <a:hlink>
        <a:srgbClr val="CC9900"/>
      </a:hlink>
      <a:folHlink>
        <a:srgbClr val="C0C0C0"/>
      </a:folHlink>
    </a:clrScheme>
    <a:fontScheme name="Grid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d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rid.thmx</Template>
  <TotalTime>4083</TotalTime>
  <Words>602</Words>
  <Application>Microsoft Office PowerPoint</Application>
  <PresentationFormat>On-screen Show (4:3)</PresentationFormat>
  <Paragraphs>91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Grid</vt:lpstr>
      <vt:lpstr>FIELD STUDY AND ANALYTICAL ASSESSMENT OF SEALED ATTICS CONDUCTED FOR THE STATE OF FLORIDA</vt:lpstr>
      <vt:lpstr>PowerPoint Presentation</vt:lpstr>
      <vt:lpstr>Project team</vt:lpstr>
      <vt:lpstr>Motivation</vt:lpstr>
      <vt:lpstr>The Effect of Sealed/Unvented Attics on Indoor Comfort and Roof Assembly Durability </vt:lpstr>
      <vt:lpstr>Purpose &amp; goal</vt:lpstr>
      <vt:lpstr>OBJECTIVES</vt:lpstr>
      <vt:lpstr>SCOPE OF WORK</vt:lpstr>
      <vt:lpstr>PowerPoint Presentation</vt:lpstr>
      <vt:lpstr>Field instrumentation</vt:lpstr>
      <vt:lpstr>Field instrumentation</vt:lpstr>
      <vt:lpstr>FIELD INSTRUMENTATION</vt:lpstr>
      <vt:lpstr>Codal provisions</vt:lpstr>
      <vt:lpstr>OUTCOM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Lisek</dc:creator>
  <cp:lastModifiedBy>William Miller</cp:lastModifiedBy>
  <cp:revision>209</cp:revision>
  <cp:lastPrinted>2016-02-24T19:58:47Z</cp:lastPrinted>
  <dcterms:created xsi:type="dcterms:W3CDTF">2015-01-17T16:29:06Z</dcterms:created>
  <dcterms:modified xsi:type="dcterms:W3CDTF">2016-03-01T22:09:36Z</dcterms:modified>
</cp:coreProperties>
</file>